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1D0"/>
    <a:srgbClr val="EF7E31"/>
    <a:srgbClr val="ED701B"/>
    <a:srgbClr val="3052BE"/>
    <a:srgbClr val="FDE6B8"/>
    <a:srgbClr val="002C46"/>
    <a:srgbClr val="FDDA95"/>
    <a:srgbClr val="FFFFFF"/>
    <a:srgbClr val="FBC14E"/>
    <a:srgbClr val="EBEE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 varScale="1">
        <p:scale>
          <a:sx n="76" d="100"/>
          <a:sy n="76" d="100"/>
        </p:scale>
        <p:origin x="25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wnloads\Southern%20Water%20Corp%20Financial%20Case%20Study%20MCU%20170520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C:\Users\dagem\OneDrive\Documents\Spring%20board%20-%20Data%20analytics\Projects\Southern%20Water%20corp%20case%20study\Southern%20Water%20Corp%20Financial%20Case%20Study%20MCU%20Student%20Facing%201705202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ntribution</a:t>
            </a:r>
            <a:r>
              <a:rPr lang="en-US" baseline="0" dirty="0"/>
              <a:t> of Customer Segments in (%) per unit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Revenue Analysis'!$B$61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2:$B$64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73641831857208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84-4647-98DD-4894FDC9DD0E}"/>
            </c:ext>
          </c:extLst>
        </c:ser>
        <c:ser>
          <c:idx val="1"/>
          <c:order val="1"/>
          <c:tx>
            <c:strRef>
              <c:f>'Revenue Analysis'!$C$61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2:$C$64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26317908407139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84-4647-98DD-4894FDC9DD0E}"/>
            </c:ext>
          </c:extLst>
        </c:ser>
        <c:ser>
          <c:idx val="2"/>
          <c:order val="2"/>
          <c:tx>
            <c:strRef>
              <c:f>'Revenue Analysis'!$D$6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2:$D$64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6317908407139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84-4647-98DD-4894FDC9D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0908207"/>
        <c:axId val="185576495"/>
      </c:barChart>
      <c:catAx>
        <c:axId val="11090820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Unit</a:t>
                </a:r>
              </a:p>
              <a:p>
                <a:pPr>
                  <a:defRPr/>
                </a:pPr>
                <a:endParaRPr lang="en-US" dirty="0"/>
              </a:p>
            </c:rich>
          </c:tx>
          <c:layout>
            <c:manualLayout>
              <c:xMode val="edge"/>
              <c:yMode val="edge"/>
              <c:x val="0.49766696349065004"/>
              <c:y val="0.820517885838487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576495"/>
        <c:crosses val="autoZero"/>
        <c:auto val="1"/>
        <c:lblAlgn val="ctr"/>
        <c:lblOffset val="100"/>
        <c:noMultiLvlLbl val="0"/>
      </c:catAx>
      <c:valAx>
        <c:axId val="185576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age (%)</a:t>
                </a:r>
              </a:p>
            </c:rich>
          </c:tx>
          <c:layout>
            <c:manualLayout>
              <c:xMode val="edge"/>
              <c:yMode val="edge"/>
              <c:x val="1.3888888888888888E-2"/>
              <c:y val="0.27878827646544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908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9585848197801656E-2"/>
          <c:y val="0.87745995552677514"/>
          <c:w val="0.89999982375019061"/>
          <c:h val="6.92173907426576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otal Expense based on Cost Element for Unit Jutik </a:t>
            </a:r>
            <a:r>
              <a: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upto Jun-14)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Expenses Analysis'!$R$1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81D0"/>
            </a:solidFill>
            <a:ln>
              <a:noFill/>
            </a:ln>
            <a:effectLst/>
          </c:spPr>
          <c:invertIfNegative val="0"/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D3-4E4D-B113-73C6A84623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83890527"/>
        <c:axId val="1228590143"/>
      </c:barChart>
      <c:catAx>
        <c:axId val="13838905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st</a:t>
                </a:r>
                <a:r>
                  <a:rPr lang="en-US" baseline="0"/>
                  <a:t> Element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8590143"/>
        <c:crosses val="autoZero"/>
        <c:auto val="1"/>
        <c:lblAlgn val="ctr"/>
        <c:lblOffset val="100"/>
        <c:noMultiLvlLbl val="0"/>
      </c:catAx>
      <c:valAx>
        <c:axId val="1228590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0.55022534879263585"/>
              <c:y val="0.914592192396893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3890527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Relationship between Chemical Expenditure and Water Production Volumes for Unit Kootha </a:t>
            </a:r>
            <a:r>
              <a: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upto Jun-14)</a:t>
            </a:r>
            <a:endParaRPr lang="en-US"/>
          </a:p>
        </c:rich>
      </c:tx>
      <c:layout>
        <c:manualLayout>
          <c:xMode val="edge"/>
          <c:yMode val="edge"/>
          <c:x val="0.12571147370599947"/>
          <c:y val="4.38596945638498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870316282980761"/>
          <c:y val="0.31136872264827498"/>
          <c:w val="0.66289261071041961"/>
          <c:h val="0.3506885234727026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Expenses Analysis'!$B$105:$E$105</c:f>
              <c:strCache>
                <c:ptCount val="4"/>
                <c:pt idx="0">
                  <c:v>Kootha</c:v>
                </c:pt>
                <c:pt idx="1">
                  <c:v>Expenses</c:v>
                </c:pt>
                <c:pt idx="2">
                  <c:v>Chemical Costs</c:v>
                </c:pt>
                <c:pt idx="3">
                  <c:v>Chem-Exp (001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86-4869-9A66-4193C8CD84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6691744"/>
        <c:axId val="86637305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B$104:$E$104</c15:sqref>
                        </c15:formulaRef>
                      </c:ext>
                    </c:extLst>
                    <c:strCache>
                      <c:ptCount val="4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Cost Centre</c:v>
                      </c:pt>
                      <c:pt idx="3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04:$Q$104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3A86-4869-9A66-4193C8CD84CC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2"/>
          <c:tx>
            <c:strRef>
              <c:f>'Expenses Analysis'!$B$108:$E$108</c:f>
              <c:strCache>
                <c:ptCount val="4"/>
                <c:pt idx="0">
                  <c:v>Kootha</c:v>
                </c:pt>
                <c:pt idx="1">
                  <c:v>None</c:v>
                </c:pt>
                <c:pt idx="2">
                  <c:v>None</c:v>
                </c:pt>
                <c:pt idx="3">
                  <c:v>Non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General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86-4869-9A66-4193C8CD84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6706144"/>
        <c:axId val="866327920"/>
      </c:lineChart>
      <c:dateAx>
        <c:axId val="966691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layout>
            <c:manualLayout>
              <c:xMode val="edge"/>
              <c:yMode val="edge"/>
              <c:x val="0.47058430269890766"/>
              <c:y val="0.810075089869204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373056"/>
        <c:crosses val="autoZero"/>
        <c:auto val="1"/>
        <c:lblOffset val="100"/>
        <c:baseTimeUnit val="months"/>
      </c:dateAx>
      <c:valAx>
        <c:axId val="866373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xpense 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6691744"/>
        <c:crosses val="autoZero"/>
        <c:crossBetween val="between"/>
      </c:valAx>
      <c:valAx>
        <c:axId val="8663279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rPr>
                  <a:t>Water production (giga litre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6706144"/>
        <c:crosses val="max"/>
        <c:crossBetween val="between"/>
      </c:valAx>
      <c:dateAx>
        <c:axId val="96670614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866327920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9090030442746737E-3"/>
          <c:y val="0.85855144897580704"/>
          <c:w val="0.9287459155235035"/>
          <c:h val="0.1151327342858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Relationship between Chemical Expenditure and Water Production Volumes for Unit Surjek </a:t>
            </a:r>
            <a:r>
              <a: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upto Jun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Expenses Analysis'!$B$106:$E$106</c:f>
              <c:strCache>
                <c:ptCount val="4"/>
                <c:pt idx="0">
                  <c:v>Surjek</c:v>
                </c:pt>
                <c:pt idx="1">
                  <c:v>Expenses</c:v>
                </c:pt>
                <c:pt idx="2">
                  <c:v>Chemical Costs</c:v>
                </c:pt>
                <c:pt idx="3">
                  <c:v>Chem-Exp (001)</c:v>
                </c:pt>
              </c:strCache>
            </c:strRef>
          </c:tx>
          <c:spPr>
            <a:solidFill>
              <a:srgbClr val="FFFFFF">
                <a:lumMod val="65000"/>
              </a:srgbClr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CA-496C-810F-6086F03ACE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6681184"/>
        <c:axId val="86632891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xpenses Analysis'!$B$103:$E$103</c15:sqref>
                        </c15:formulaRef>
                      </c:ext>
                    </c:extLst>
                    <c:strCache>
                      <c:ptCount val="4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Cost Centre</c:v>
                      </c:pt>
                      <c:pt idx="3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17CA-496C-810F-6086F03ACE13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2"/>
          <c:tx>
            <c:strRef>
              <c:f>'Expenses Analysis'!$B$109:$E$109</c:f>
              <c:strCache>
                <c:ptCount val="4"/>
                <c:pt idx="0">
                  <c:v>Surjek</c:v>
                </c:pt>
                <c:pt idx="1">
                  <c:v>None</c:v>
                </c:pt>
                <c:pt idx="2">
                  <c:v>None</c:v>
                </c:pt>
                <c:pt idx="3">
                  <c:v>Non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9:$Q$109</c:f>
              <c:numCache>
                <c:formatCode>General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CA-496C-810F-6086F03ACE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6687424"/>
        <c:axId val="866337840"/>
      </c:lineChart>
      <c:dateAx>
        <c:axId val="9666811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328912"/>
        <c:crosses val="autoZero"/>
        <c:auto val="0"/>
        <c:lblOffset val="100"/>
        <c:baseTimeUnit val="months"/>
      </c:dateAx>
      <c:valAx>
        <c:axId val="866328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xpense</a:t>
                </a:r>
                <a:r>
                  <a:rPr lang="en-US" baseline="0"/>
                  <a:t> ($)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6681184"/>
        <c:crosses val="autoZero"/>
        <c:crossBetween val="between"/>
      </c:valAx>
      <c:valAx>
        <c:axId val="86633784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rPr>
                  <a:t>Water production (giga litre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6687424"/>
        <c:crosses val="max"/>
        <c:crossBetween val="between"/>
      </c:valAx>
      <c:catAx>
        <c:axId val="966687424"/>
        <c:scaling>
          <c:orientation val="minMax"/>
        </c:scaling>
        <c:delete val="1"/>
        <c:axPos val="b"/>
        <c:majorTickMark val="out"/>
        <c:minorTickMark val="none"/>
        <c:tickLblPos val="nextTo"/>
        <c:crossAx val="8663378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052780715010618E-2"/>
          <c:y val="0.78059754804998638"/>
          <c:w val="0.81247692027056484"/>
          <c:h val="0.132877925150282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Relationship between Chemical Expenditure and Water Production Volumes for Unit Jutik </a:t>
            </a:r>
            <a:r>
              <a: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upto Jun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B$107:$E$107</c:f>
              <c:strCache>
                <c:ptCount val="4"/>
                <c:pt idx="0">
                  <c:v>Jutik</c:v>
                </c:pt>
                <c:pt idx="1">
                  <c:v>Expenses</c:v>
                </c:pt>
                <c:pt idx="2">
                  <c:v>Chemical Costs</c:v>
                </c:pt>
                <c:pt idx="3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E1-4896-A126-4A1F59272C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63077792"/>
        <c:axId val="977518704"/>
      </c:barChart>
      <c:lineChart>
        <c:grouping val="standard"/>
        <c:varyColors val="0"/>
        <c:ser>
          <c:idx val="1"/>
          <c:order val="1"/>
          <c:tx>
            <c:strRef>
              <c:f>'Expenses Analysis'!$B$110:$E$110</c:f>
              <c:strCache>
                <c:ptCount val="4"/>
                <c:pt idx="0">
                  <c:v>Jutik</c:v>
                </c:pt>
                <c:pt idx="1">
                  <c:v>None</c:v>
                </c:pt>
                <c:pt idx="2">
                  <c:v>None</c:v>
                </c:pt>
                <c:pt idx="3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0:$Q$110</c:f>
              <c:numCache>
                <c:formatCode>General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E1-4896-A126-4A1F59272C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3075872"/>
        <c:axId val="977530112"/>
      </c:lineChart>
      <c:dateAx>
        <c:axId val="8630777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7518704"/>
        <c:crosses val="autoZero"/>
        <c:auto val="1"/>
        <c:lblOffset val="100"/>
        <c:baseTimeUnit val="months"/>
      </c:dateAx>
      <c:valAx>
        <c:axId val="977518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xpense 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077792"/>
        <c:crosses val="autoZero"/>
        <c:crossBetween val="between"/>
      </c:valAx>
      <c:valAx>
        <c:axId val="97753011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rPr>
                  <a:t>Water production (giga litre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3075872"/>
        <c:crosses val="max"/>
        <c:crossBetween val="between"/>
      </c:valAx>
      <c:dateAx>
        <c:axId val="86307587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97753011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763958535235495E-2"/>
          <c:y val="0.87895900932529958"/>
          <c:w val="0.8999998041281515"/>
          <c:h val="6.8370642294321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EBIT per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44-4DD3-ABFA-72F8EBBB5657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44-4DD3-ABFA-72F8EBBB5657}"/>
              </c:ext>
            </c:extLst>
          </c:dPt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44-4DD3-ABFA-72F8EBBB5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71754000"/>
        <c:axId val="972851312"/>
      </c:barChart>
      <c:catAx>
        <c:axId val="9717540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2851312"/>
        <c:crosses val="autoZero"/>
        <c:auto val="1"/>
        <c:lblAlgn val="ctr"/>
        <c:lblOffset val="100"/>
        <c:noMultiLvlLbl val="0"/>
      </c:catAx>
      <c:valAx>
        <c:axId val="972851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BIT</a:t>
                </a:r>
                <a:r>
                  <a:rPr lang="en-US" baseline="0"/>
                  <a:t> ($)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1754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</a:t>
            </a:r>
            <a:r>
              <a:rPr lang="en-US" baseline="0"/>
              <a:t>of the three units from (</a:t>
            </a:r>
            <a:r>
              <a: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Jul-13 upto Jun-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454805800862405"/>
          <c:y val="0.17171296296296298"/>
          <c:w val="0.76763520740003988"/>
          <c:h val="0.53995263589603881"/>
        </c:manualLayout>
      </c:layout>
      <c:lineChart>
        <c:grouping val="standard"/>
        <c:varyColors val="0"/>
        <c:ser>
          <c:idx val="0"/>
          <c:order val="0"/>
          <c:tx>
            <c:strRef>
              <c:f>'EBIT Analysis'!$A$23:$B$23</c:f>
              <c:strCache>
                <c:ptCount val="2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650F-48F6-AF1B-1508B61DE1D0}"/>
            </c:ext>
          </c:extLst>
        </c:ser>
        <c:ser>
          <c:idx val="1"/>
          <c:order val="1"/>
          <c:tx>
            <c:strRef>
              <c:f>'EBIT Analysis'!$A$24:$B$24</c:f>
              <c:strCache>
                <c:ptCount val="2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rgbClr val="FFFFFF">
                  <a:lumMod val="6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650F-48F6-AF1B-1508B61DE1D0}"/>
            </c:ext>
          </c:extLst>
        </c:ser>
        <c:ser>
          <c:idx val="2"/>
          <c:order val="2"/>
          <c:tx>
            <c:strRef>
              <c:f>'EBIT Analysis'!$A$25:$B$25</c:f>
              <c:strCache>
                <c:ptCount val="2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650F-48F6-AF1B-1508B61DE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9246943"/>
        <c:axId val="1329962943"/>
        <c:extLst/>
      </c:lineChart>
      <c:dateAx>
        <c:axId val="1439246943"/>
        <c:scaling>
          <c:orientation val="minMax"/>
        </c:scaling>
        <c:delete val="0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onth</a:t>
                </a:r>
              </a:p>
            </c:rich>
          </c:tx>
          <c:layout>
            <c:manualLayout>
              <c:xMode val="edge"/>
              <c:yMode val="edge"/>
              <c:x val="0.50716258963618255"/>
              <c:y val="0.8095337827759736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9962943"/>
        <c:crosses val="max"/>
        <c:auto val="1"/>
        <c:lblOffset val="100"/>
        <c:baseTimeUnit val="months"/>
      </c:dateAx>
      <c:valAx>
        <c:axId val="1329962943"/>
        <c:scaling>
          <c:orientation val="minMax"/>
          <c:min val="-7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BIT</a:t>
                </a:r>
                <a:r>
                  <a:rPr lang="en-US" baseline="0"/>
                  <a:t> ($)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9246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rPr>
              <a:t>Monthly Revenue for all Profit Centres at Kootha (Jul-13 upto Jun-14)</a:t>
            </a:r>
          </a:p>
        </c:rich>
      </c:tx>
      <c:layout>
        <c:manualLayout>
          <c:xMode val="edge"/>
          <c:yMode val="edge"/>
          <c:x val="0.12060754905142473"/>
          <c:y val="3.28267749392874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4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1381-4686-9FC4-DC6D06100FBD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1381-4686-9FC4-DC6D06100FBD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1381-4686-9FC4-DC6D0610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9395376"/>
        <c:axId val="715536368"/>
        <c:extLst/>
      </c:lineChart>
      <c:dateAx>
        <c:axId val="7093953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layout>
            <c:manualLayout>
              <c:xMode val="edge"/>
              <c:yMode val="edge"/>
              <c:x val="0.53672097830095"/>
              <c:y val="0.722583475153331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2700000" spcFirstLastPara="1" vertOverflow="ellipsis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5536368"/>
        <c:crosses val="autoZero"/>
        <c:auto val="0"/>
        <c:lblOffset val="100"/>
        <c:baseTimeUnit val="months"/>
      </c:dateAx>
      <c:valAx>
        <c:axId val="715536368"/>
        <c:scaling>
          <c:orientation val="minMax"/>
          <c:min val="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39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7084573780181108E-4"/>
          <c:y val="0.7771758704751931"/>
          <c:w val="0.99611093951709184"/>
          <c:h val="0.222824150899716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>
      <a:softEdge rad="1155700"/>
    </a:effectLst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rPr>
              <a:t>Monthly Revenue for all Profit Centres at Surjek (Jul-13 upto Jun-14)</a:t>
            </a:r>
          </a:p>
        </c:rich>
      </c:tx>
      <c:layout>
        <c:manualLayout>
          <c:xMode val="edge"/>
          <c:yMode val="edge"/>
          <c:x val="0.12060754905142473"/>
          <c:y val="3.28267749392874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4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AA87-4294-A1A5-883FF8F5B1D6}"/>
            </c:ext>
          </c:extLst>
        </c:ser>
        <c:ser>
          <c:idx val="1"/>
          <c:order val="1"/>
          <c:tx>
            <c:strRef>
              <c:f>'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AA87-4294-A1A5-883FF8F5B1D6}"/>
            </c:ext>
          </c:extLst>
        </c:ser>
        <c:ser>
          <c:idx val="2"/>
          <c:order val="2"/>
          <c:tx>
            <c:strRef>
              <c:f>'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AA87-4294-A1A5-883FF8F5B1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9395376"/>
        <c:axId val="715536368"/>
        <c:extLst/>
      </c:lineChart>
      <c:dateAx>
        <c:axId val="7093953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layout>
            <c:manualLayout>
              <c:xMode val="edge"/>
              <c:yMode val="edge"/>
              <c:x val="0.51627090281238741"/>
              <c:y val="0.672017470339853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2700000" spcFirstLastPara="1" vertOverflow="ellipsis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5536368"/>
        <c:crosses val="autoZero"/>
        <c:auto val="0"/>
        <c:lblOffset val="100"/>
        <c:baseTimeUnit val="months"/>
      </c:dateAx>
      <c:valAx>
        <c:axId val="715536368"/>
        <c:scaling>
          <c:orientation val="minMax"/>
          <c:min val="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39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3029408230522391E-3"/>
          <c:y val="0.72787772127684147"/>
          <c:w val="0.99452104513569473"/>
          <c:h val="0.198936496475377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Monthly Revenue for all Profit Centres at Jutik (Jul-13 upto Jun-14)</a:t>
            </a:r>
          </a:p>
        </c:rich>
      </c:tx>
      <c:layout>
        <c:manualLayout>
          <c:xMode val="edge"/>
          <c:yMode val="edge"/>
          <c:x val="0.12060754905142473"/>
          <c:y val="3.28267749392874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E382-4433-A4AD-923C14D67D92}"/>
            </c:ext>
          </c:extLst>
        </c:ser>
        <c:ser>
          <c:idx val="1"/>
          <c:order val="1"/>
          <c:tx>
            <c:strRef>
              <c:f>'Revenue Analysis'!$C$41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E382-4433-A4AD-923C14D67D92}"/>
            </c:ext>
          </c:extLst>
        </c:ser>
        <c:ser>
          <c:idx val="2"/>
          <c:order val="2"/>
          <c:tx>
            <c:strRef>
              <c:f>'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E382-4433-A4AD-923C14D67D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9395376"/>
        <c:axId val="715536368"/>
        <c:extLst/>
      </c:lineChart>
      <c:dateAx>
        <c:axId val="7093953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layout>
            <c:manualLayout>
              <c:xMode val="edge"/>
              <c:yMode val="edge"/>
              <c:x val="0.46743454889358593"/>
              <c:y val="0.748311388788732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5536368"/>
        <c:crosses val="autoZero"/>
        <c:auto val="0"/>
        <c:lblOffset val="100"/>
        <c:baseTimeUnit val="months"/>
      </c:dateAx>
      <c:valAx>
        <c:axId val="715536368"/>
        <c:scaling>
          <c:orientation val="minMax"/>
          <c:min val="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39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t" anchorCtr="0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</a:t>
            </a:r>
            <a:r>
              <a:rPr lang="en-US" baseline="0" dirty="0"/>
              <a:t> cost by Unit</a:t>
            </a:r>
            <a:endParaRPr lang="en-US" dirty="0"/>
          </a:p>
        </c:rich>
      </c:tx>
      <c:layout>
        <c:manualLayout>
          <c:xMode val="edge"/>
          <c:yMode val="edge"/>
          <c:x val="0.3025777867260904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t" anchorCtr="0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290327994616907"/>
          <c:y val="9.4671196929213761E-2"/>
          <c:w val="0.74709672005383088"/>
          <c:h val="0.66574609805066576"/>
        </c:manualLayout>
      </c:layout>
      <c:barChart>
        <c:barDir val="col"/>
        <c:grouping val="clustered"/>
        <c:varyColors val="0"/>
        <c:ser>
          <c:idx val="1"/>
          <c:order val="0"/>
          <c:tx>
            <c:v>Kootah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Expenses Analysis'!$A$12</c:f>
              <c:strCache>
                <c:ptCount val="1"/>
                <c:pt idx="0">
                  <c:v>Unit</c:v>
                </c:pt>
              </c:strCache>
            </c:strRef>
          </c:cat>
          <c:val>
            <c:numRef>
              <c:f>'Expenses Analysis'!$R$23</c:f>
              <c:numCache>
                <c:formatCode>"$"#,##0.00;[Red]\-"$"#,##0.00</c:formatCode>
                <c:ptCount val="1"/>
                <c:pt idx="0">
                  <c:v>51223824.09232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6B-411F-8B87-1978442A8AFC}"/>
            </c:ext>
          </c:extLst>
        </c:ser>
        <c:ser>
          <c:idx val="3"/>
          <c:order val="1"/>
          <c:tx>
            <c:v>Surjek</c:v>
          </c:tx>
          <c:spPr>
            <a:solidFill>
              <a:srgbClr val="FFFFFF">
                <a:lumMod val="65000"/>
              </a:srgbClr>
            </a:solidFill>
            <a:ln>
              <a:noFill/>
            </a:ln>
            <a:effectLst/>
          </c:spPr>
          <c:invertIfNegative val="0"/>
          <c:cat>
            <c:strRef>
              <c:f>'Expenses Analysis'!$A$12</c:f>
              <c:strCache>
                <c:ptCount val="1"/>
                <c:pt idx="0">
                  <c:v>Unit</c:v>
                </c:pt>
              </c:strCache>
            </c:strRef>
          </c:cat>
          <c:val>
            <c:numRef>
              <c:f>'Expenses Analysis'!$R$33</c:f>
              <c:numCache>
                <c:formatCode>"$"#,##0.00;[Red]\-"$"#,##0.00</c:formatCode>
                <c:ptCount val="1"/>
                <c:pt idx="0">
                  <c:v>179319099.0399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6B-411F-8B87-1978442A8AFC}"/>
            </c:ext>
          </c:extLst>
        </c:ser>
        <c:ser>
          <c:idx val="5"/>
          <c:order val="2"/>
          <c:tx>
            <c:v>Jutik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'Expenses Analysis'!$A$12</c:f>
              <c:strCache>
                <c:ptCount val="1"/>
                <c:pt idx="0">
                  <c:v>Unit</c:v>
                </c:pt>
              </c:strCache>
            </c:strRef>
          </c:cat>
          <c:val>
            <c:numRef>
              <c:f>'Expenses Analysis'!$R$43</c:f>
              <c:numCache>
                <c:formatCode>"$"#,##0.00;[Red]\-"$"#,##0.00</c:formatCode>
                <c:ptCount val="1"/>
                <c:pt idx="0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6B-411F-8B87-1978442A8A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761855"/>
        <c:axId val="542324623"/>
      </c:barChart>
      <c:catAx>
        <c:axId val="5027618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2324623"/>
        <c:crosses val="autoZero"/>
        <c:auto val="0"/>
        <c:lblAlgn val="ctr"/>
        <c:lblOffset val="100"/>
        <c:tickLblSkip val="1"/>
        <c:noMultiLvlLbl val="0"/>
      </c:catAx>
      <c:valAx>
        <c:axId val="542324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Expense ($)</a:t>
                </a:r>
              </a:p>
            </c:rich>
          </c:tx>
          <c:layout>
            <c:manualLayout>
              <c:xMode val="edge"/>
              <c:yMode val="edge"/>
              <c:x val="4.7793762789289831E-2"/>
              <c:y val="0.316058061774981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761855"/>
        <c:crosses val="autoZero"/>
        <c:crossBetween val="between"/>
      </c:valAx>
      <c:dTable>
        <c:showHorzBorder val="1"/>
        <c:showVertBorder val="0"/>
        <c:showOutline val="0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Monthly Expenses for cost centre elements (Jul-13 upto Jun-14)</a:t>
            </a:r>
          </a:p>
        </c:rich>
      </c:tx>
      <c:layout>
        <c:manualLayout>
          <c:xMode val="edge"/>
          <c:yMode val="edge"/>
          <c:x val="0.2367579460619034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4135363533688593E-2"/>
          <c:y val="0.14795667372542382"/>
          <c:w val="0.60142515083151216"/>
          <c:h val="0.72343612609522623"/>
        </c:manualLayout>
      </c:layout>
      <c:lineChart>
        <c:grouping val="standard"/>
        <c:varyColors val="0"/>
        <c:ser>
          <c:idx val="0"/>
          <c:order val="0"/>
          <c:tx>
            <c:strRef>
              <c:f>'Expenses Analysis'!$C$48:$D$48</c:f>
              <c:strCache>
                <c:ptCount val="2"/>
                <c:pt idx="0">
                  <c:v>Cost Centre</c:v>
                </c:pt>
                <c:pt idx="1">
                  <c:v>Cost Centre Elem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48:$Q$48</c:f>
              <c:numCache>
                <c:formatCode>General</c:formatCode>
                <c:ptCount val="12"/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F873-46B4-B271-749A5895CFD5}"/>
            </c:ext>
          </c:extLst>
        </c:ser>
        <c:ser>
          <c:idx val="1"/>
          <c:order val="1"/>
          <c:tx>
            <c:strRef>
              <c:f>'Expenses Analysis'!$C$49:$D$49</c:f>
              <c:strCache>
                <c:ptCount val="2"/>
                <c:pt idx="0">
                  <c:v>Chemical Costs</c:v>
                </c:pt>
                <c:pt idx="1">
                  <c:v>Chem-Exp (001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49:$Q$49</c:f>
              <c:numCache>
                <c:formatCode>"$"#,##0.00;[Red]\-"$"#,##0.0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F873-46B4-B271-749A5895CFD5}"/>
            </c:ext>
          </c:extLst>
        </c:ser>
        <c:ser>
          <c:idx val="2"/>
          <c:order val="2"/>
          <c:tx>
            <c:strRef>
              <c:f>'Expenses Analysis'!$C$50:$D$50</c:f>
              <c:strCache>
                <c:ptCount val="2"/>
                <c:pt idx="0">
                  <c:v>Facility Costs</c:v>
                </c:pt>
                <c:pt idx="1">
                  <c:v>Utility-Exp (002) - Heatin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0:$Q$50</c:f>
              <c:numCache>
                <c:formatCode>"$"#,##0.00;[Red]\-"$"#,##0.00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F873-46B4-B271-749A5895CFD5}"/>
            </c:ext>
          </c:extLst>
        </c:ser>
        <c:ser>
          <c:idx val="3"/>
          <c:order val="3"/>
          <c:tx>
            <c:strRef>
              <c:f>'Expenses Analysis'!$C$51:$D$51</c:f>
              <c:strCache>
                <c:ptCount val="2"/>
                <c:pt idx="0">
                  <c:v>Facility Costs</c:v>
                </c:pt>
                <c:pt idx="1">
                  <c:v>Utility-Exp (002) - Electricit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1:$Q$51</c:f>
              <c:numCache>
                <c:formatCode>"$"#,##0.00;[Red]\-"$"#,##0.00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F873-46B4-B271-749A5895CFD5}"/>
            </c:ext>
          </c:extLst>
        </c:ser>
        <c:ser>
          <c:idx val="4"/>
          <c:order val="4"/>
          <c:tx>
            <c:strRef>
              <c:f>'Expenses Analysis'!$C$52:$D$52</c:f>
              <c:strCache>
                <c:ptCount val="2"/>
                <c:pt idx="0">
                  <c:v>Operational Maintenance Costs</c:v>
                </c:pt>
                <c:pt idx="1">
                  <c:v>Plant Maintenance (001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2:$Q$52</c:f>
              <c:numCache>
                <c:formatCode>"$"#,##0.00;[Red]\-"$"#,##0.00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F873-46B4-B271-749A5895CFD5}"/>
            </c:ext>
          </c:extLst>
        </c:ser>
        <c:ser>
          <c:idx val="5"/>
          <c:order val="5"/>
          <c:tx>
            <c:strRef>
              <c:f>'Expenses Analysis'!$C$53:$D$53</c:f>
              <c:strCache>
                <c:ptCount val="2"/>
                <c:pt idx="0">
                  <c:v>Operational Maintenance Costs</c:v>
                </c:pt>
                <c:pt idx="1">
                  <c:v>Plant Outages (002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3:$Q$53</c:f>
              <c:numCache>
                <c:formatCode>"$"#,##0.00;[Red]\-"$"#,##0.00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F873-46B4-B271-749A5895CFD5}"/>
            </c:ext>
          </c:extLst>
        </c:ser>
        <c:ser>
          <c:idx val="6"/>
          <c:order val="6"/>
          <c:tx>
            <c:strRef>
              <c:f>'Expenses Analysis'!$C$54:$D$54</c:f>
              <c:strCache>
                <c:ptCount val="2"/>
                <c:pt idx="0">
                  <c:v>Operational Maintenance Costs</c:v>
                </c:pt>
                <c:pt idx="1">
                  <c:v>Plant Op. Costs (003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4:$Q$54</c:f>
              <c:numCache>
                <c:formatCode>"$"#,##0.00;[Red]\-"$"#,##0.00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6-F873-46B4-B271-749A5895CFD5}"/>
            </c:ext>
          </c:extLst>
        </c:ser>
        <c:ser>
          <c:idx val="7"/>
          <c:order val="7"/>
          <c:tx>
            <c:strRef>
              <c:f>'Expenses Analysis'!$C$55:$D$55</c:f>
              <c:strCache>
                <c:ptCount val="2"/>
                <c:pt idx="0">
                  <c:v>Operational Maintenance Costs</c:v>
                </c:pt>
                <c:pt idx="1">
                  <c:v>Plant Admin Costs (004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5:$Q$55</c:f>
              <c:numCache>
                <c:formatCode>"$"#,##0.00;[Red]\-"$"#,##0.00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7-F873-46B4-B271-749A5895CFD5}"/>
            </c:ext>
          </c:extLst>
        </c:ser>
        <c:ser>
          <c:idx val="8"/>
          <c:order val="8"/>
          <c:tx>
            <c:strRef>
              <c:f>'Expenses Analysis'!$C$56:$D$56</c:f>
              <c:strCache>
                <c:ptCount val="2"/>
                <c:pt idx="0">
                  <c:v>Labour Costs</c:v>
                </c:pt>
                <c:pt idx="1">
                  <c:v>Labour-Costs (001)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Expenses Analysis'!$F$56:$Q$56</c:f>
              <c:numCache>
                <c:formatCode>"$"#,##0.00;[Red]\-"$"#,##0.0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8-F873-46B4-B271-749A5895C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25698623"/>
        <c:axId val="1216922079"/>
      </c:lineChart>
      <c:dateAx>
        <c:axId val="122569862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</a:t>
                </a:r>
              </a:p>
            </c:rich>
          </c:tx>
          <c:layout>
            <c:manualLayout>
              <c:xMode val="edge"/>
              <c:yMode val="edge"/>
              <c:x val="0.37487078199887708"/>
              <c:y val="0.9197181254092482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6922079"/>
        <c:crosses val="autoZero"/>
        <c:auto val="1"/>
        <c:lblOffset val="100"/>
        <c:baseTimeUnit val="months"/>
      </c:dateAx>
      <c:valAx>
        <c:axId val="1216922079"/>
        <c:scaling>
          <c:orientation val="minMax"/>
          <c:max val="9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 (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6986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70572375091917083"/>
          <c:y val="0.11512124141228317"/>
          <c:w val="0.29427624908082917"/>
          <c:h val="0.847549083803644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Kootha Expenses (2013 July - 2014 Jun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608365680"/>
        <c:axId val="608367320"/>
      </c:barChart>
      <c:catAx>
        <c:axId val="60836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8367320"/>
        <c:crosses val="autoZero"/>
        <c:auto val="1"/>
        <c:lblAlgn val="ctr"/>
        <c:lblOffset val="100"/>
        <c:noMultiLvlLbl val="0"/>
      </c:catAx>
      <c:valAx>
        <c:axId val="608367320"/>
        <c:scaling>
          <c:orientation val="minMax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8365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6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Total Expense based on Cost Element for Unit </a:t>
            </a:r>
            <a:r>
              <a:rPr lang="en-US" b="1" dirty="0" err="1"/>
              <a:t>Kootha</a:t>
            </a:r>
            <a:r>
              <a:rPr lang="en-US" b="1" dirty="0"/>
              <a:t> </a:t>
            </a:r>
            <a:r>
              <a:rPr lang="en-US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</a:t>
            </a:r>
            <a:r>
              <a:rPr lang="en-US" sz="140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upto</a:t>
            </a:r>
            <a:r>
              <a:rPr lang="en-US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 Jun-14)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Expenses Analysis'!$R$1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EF7E31"/>
            </a:solidFill>
            <a:ln>
              <a:noFill/>
            </a:ln>
            <a:effectLst/>
          </c:spPr>
          <c:invertIfNegative val="0"/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3C2F-4A37-AD22-4D72AA6B7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83890527"/>
        <c:axId val="1228590143"/>
      </c:barChart>
      <c:catAx>
        <c:axId val="13838905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st</a:t>
                </a:r>
                <a:r>
                  <a:rPr lang="en-US" baseline="0"/>
                  <a:t> Element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8590143"/>
        <c:crosses val="autoZero"/>
        <c:auto val="1"/>
        <c:lblAlgn val="ctr"/>
        <c:lblOffset val="100"/>
        <c:noMultiLvlLbl val="0"/>
      </c:catAx>
      <c:valAx>
        <c:axId val="1228590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0.55022534879263585"/>
              <c:y val="0.914592192396893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3890527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otal Expense based on Cost Element for Unit Surjek </a:t>
            </a:r>
            <a:r>
              <a:rPr lang="en-US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(Jul-13 upto Jun-14)</a:t>
            </a:r>
            <a:endParaRPr lang="en-US" b="1"/>
          </a:p>
        </c:rich>
      </c:tx>
      <c:layout>
        <c:manualLayout>
          <c:xMode val="edge"/>
          <c:yMode val="edge"/>
          <c:x val="9.3004312847611501E-2"/>
          <c:y val="2.90785533076281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Expenses Analysis'!$R$1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FFFF">
                <a:lumMod val="65000"/>
              </a:srgbClr>
            </a:solidFill>
            <a:ln>
              <a:noFill/>
            </a:ln>
            <a:effectLst/>
          </c:spPr>
          <c:invertIfNegative val="0"/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65-49DE-94B4-1C3AB3C40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83890527"/>
        <c:axId val="1228590143"/>
      </c:barChart>
      <c:catAx>
        <c:axId val="13838905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st</a:t>
                </a:r>
                <a:r>
                  <a:rPr lang="en-US" baseline="0"/>
                  <a:t> Element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8590143"/>
        <c:crosses val="autoZero"/>
        <c:auto val="1"/>
        <c:lblAlgn val="ctr"/>
        <c:lblOffset val="100"/>
        <c:noMultiLvlLbl val="0"/>
      </c:catAx>
      <c:valAx>
        <c:axId val="1228590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layout>
            <c:manualLayout>
              <c:xMode val="edge"/>
              <c:yMode val="edge"/>
              <c:x val="0.55022534879263585"/>
              <c:y val="0.914592192396893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3890527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7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50030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customers are the most popular, followed by Public ($127M) and lastly Residential Sales ($103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6805C81-7BF1-484D-8586-0AB9B293FF59}"/>
              </a:ext>
            </a:extLst>
          </p:cNvPr>
          <p:cNvSpPr/>
          <p:nvPr/>
        </p:nvSpPr>
        <p:spPr>
          <a:xfrm>
            <a:off x="2707481" y="1096362"/>
            <a:ext cx="3665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>
                <a:solidFill>
                  <a:schemeClr val="accent6">
                    <a:lumMod val="75000"/>
                  </a:schemeClr>
                </a:solidFill>
              </a:rPr>
              <a:t>The first slide we want to show is our segmented analysis of the revenues for each customer group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020B46F-A0F3-FFBC-CF76-0556921119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074234"/>
              </p:ext>
            </p:extLst>
          </p:nvPr>
        </p:nvGraphicFramePr>
        <p:xfrm>
          <a:off x="761650" y="2003667"/>
          <a:ext cx="7467950" cy="3988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7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164M) and </a:t>
            </a:r>
            <a:r>
              <a:rPr lang="en-GB" sz="1400" b="1" dirty="0" err="1"/>
              <a:t>Kootha</a:t>
            </a:r>
            <a:r>
              <a:rPr lang="en-GB" sz="1400" b="1" dirty="0"/>
              <a:t> ($71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C7AF2A7-5E7D-B4EF-1260-55D7663543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745830"/>
              </p:ext>
            </p:extLst>
          </p:nvPr>
        </p:nvGraphicFramePr>
        <p:xfrm>
          <a:off x="171451" y="670687"/>
          <a:ext cx="4309267" cy="3070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7D847B8-3CC0-4089-8FC0-B5751C496D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857473"/>
              </p:ext>
            </p:extLst>
          </p:nvPr>
        </p:nvGraphicFramePr>
        <p:xfrm>
          <a:off x="4622335" y="1988192"/>
          <a:ext cx="4061176" cy="3363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615DA49-5BF9-A3A3-DC98-F43620C72A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1134096"/>
              </p:ext>
            </p:extLst>
          </p:nvPr>
        </p:nvGraphicFramePr>
        <p:xfrm>
          <a:off x="171451" y="3834709"/>
          <a:ext cx="4309267" cy="2826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/>
              <a:t>Surjek</a:t>
            </a:r>
            <a:r>
              <a:rPr lang="en-GB" sz="1400" b="1" dirty="0"/>
              <a:t>, contributing $179M (56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6D1C9DF-FB66-A26B-CD52-0DE1AFA3DF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8687747"/>
              </p:ext>
            </p:extLst>
          </p:nvPr>
        </p:nvGraphicFramePr>
        <p:xfrm>
          <a:off x="1417739" y="841737"/>
          <a:ext cx="5791467" cy="3017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E20A40C-8972-8C8F-521D-DFACEB5BCF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6093494"/>
              </p:ext>
            </p:extLst>
          </p:nvPr>
        </p:nvGraphicFramePr>
        <p:xfrm>
          <a:off x="80693" y="3971927"/>
          <a:ext cx="8800051" cy="2564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2" y="210312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M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$91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4435EA6-5B8E-4730-B223-FE290A38DA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640283"/>
              </p:ext>
            </p:extLst>
          </p:nvPr>
        </p:nvGraphicFramePr>
        <p:xfrm>
          <a:off x="4497161" y="762101"/>
          <a:ext cx="4464277" cy="2881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2E3867B-1BF2-EF6F-871B-62DAF75FBD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2777813"/>
              </p:ext>
            </p:extLst>
          </p:nvPr>
        </p:nvGraphicFramePr>
        <p:xfrm>
          <a:off x="0" y="905709"/>
          <a:ext cx="4464278" cy="3002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8BD5818-7267-1AEF-587F-BA2335D46D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9137009"/>
              </p:ext>
            </p:extLst>
          </p:nvPr>
        </p:nvGraphicFramePr>
        <p:xfrm>
          <a:off x="4303055" y="2342823"/>
          <a:ext cx="4599660" cy="3286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D625CCB-C69E-0CFC-C437-A56996C041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5287889"/>
              </p:ext>
            </p:extLst>
          </p:nvPr>
        </p:nvGraphicFramePr>
        <p:xfrm>
          <a:off x="58723" y="3820258"/>
          <a:ext cx="4593072" cy="2815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8F538D4-7560-6FF0-BD75-8FED6AF29E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8707923"/>
              </p:ext>
            </p:extLst>
          </p:nvPr>
        </p:nvGraphicFramePr>
        <p:xfrm>
          <a:off x="187489" y="3733608"/>
          <a:ext cx="4352761" cy="2895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C417380-DB71-5154-E88A-E411A95B5C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8725360"/>
              </p:ext>
            </p:extLst>
          </p:nvPr>
        </p:nvGraphicFramePr>
        <p:xfrm>
          <a:off x="87561" y="837070"/>
          <a:ext cx="4045758" cy="3286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4A2A0DE-D66A-4E27-8CE4-30D5C31403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1099196"/>
              </p:ext>
            </p:extLst>
          </p:nvPr>
        </p:nvGraphicFramePr>
        <p:xfrm>
          <a:off x="4391025" y="989091"/>
          <a:ext cx="4594841" cy="3134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3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($23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20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57976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C99C2B4-1B56-0775-415A-D8FFE45D4F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7423575"/>
              </p:ext>
            </p:extLst>
          </p:nvPr>
        </p:nvGraphicFramePr>
        <p:xfrm>
          <a:off x="2469946" y="957755"/>
          <a:ext cx="4206228" cy="258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44DBBED-FC07-8392-F2D9-9897A11295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7297135"/>
              </p:ext>
            </p:extLst>
          </p:nvPr>
        </p:nvGraphicFramePr>
        <p:xfrm>
          <a:off x="1672712" y="3448661"/>
          <a:ext cx="5659266" cy="290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876</TotalTime>
  <Words>519</Words>
  <Application>Microsoft Office PowerPoint</Application>
  <PresentationFormat>Custom</PresentationFormat>
  <Paragraphs>55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customers are the most popular, followed by Public ($127M) and lastly Residential Sales ($103M). </vt:lpstr>
      <vt:lpstr>Of the ($437M)¹ in Revenue Sales over the July-2013 to June-2014 Period, Surjek provides close to 50% of Sales Volumes ($202M), with Jutik ($164M) and Kootha ($71M) providing the remaining.</vt:lpstr>
      <vt:lpstr>Targeted Expense Analysis reveals an interesting trend; Overall Costs sharply increase from December, with Surjek, contributing $179M (56%) towards the overall cost-base. </vt:lpstr>
      <vt:lpstr>Further analysis singles-out Surjek with $179M (56%) worth of expenses, contrasted to a much lower spend from Kootha ($51 M) and Jutik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($23M) , and lastly Kootha ($20M). However, from an EBIT  Margin (%) perspective, Kootha has a higher margin than that of Surjek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agmawi Kassa</cp:lastModifiedBy>
  <cp:revision>98</cp:revision>
  <dcterms:created xsi:type="dcterms:W3CDTF">2020-04-12T13:23:13Z</dcterms:created>
  <dcterms:modified xsi:type="dcterms:W3CDTF">2024-02-08T03:30:02Z</dcterms:modified>
</cp:coreProperties>
</file>